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5"/>
  </p:notesMasterIdLst>
  <p:handoutMasterIdLst>
    <p:handoutMasterId r:id="rId16"/>
  </p:handoutMasterIdLst>
  <p:sldIdLst>
    <p:sldId id="1277" r:id="rId3"/>
    <p:sldId id="1293" r:id="rId4"/>
    <p:sldId id="1294" r:id="rId5"/>
    <p:sldId id="1296" r:id="rId6"/>
    <p:sldId id="1383" r:id="rId7"/>
    <p:sldId id="1384" r:id="rId8"/>
    <p:sldId id="1373" r:id="rId9"/>
    <p:sldId id="1385" r:id="rId10"/>
    <p:sldId id="1343" r:id="rId11"/>
    <p:sldId id="1344" r:id="rId12"/>
    <p:sldId id="1345" r:id="rId13"/>
    <p:sldId id="1346" r:id="rId14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83"/>
            <p14:sldId id="1384"/>
            <p14:sldId id="1373"/>
            <p14:sldId id="1385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81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888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07.01.2022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7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53732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/>
              <a:t>7</a:t>
            </a:r>
            <a:r>
              <a:rPr lang="cs-CZ" b="1" dirty="0" smtClean="0"/>
              <a:t>. ledna 2022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1478871"/>
              </p:ext>
            </p:extLst>
          </p:nvPr>
        </p:nvGraphicFramePr>
        <p:xfrm>
          <a:off x="288084" y="735513"/>
          <a:ext cx="11587543" cy="6015899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6464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3876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, výrazně omezená kapacita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ásadní 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, ale i v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zhledem k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ové kapacity. Omezená možnost překladů již neinfekční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. Pokles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 v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ale setrvale zatížená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e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y</a:t>
                      </a:r>
                      <a:endParaRPr lang="cs-CZ" sz="1300" b="0" i="0" kern="1200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2951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i intenzivní péči, deeskalac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ovan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ek na běžný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režim. V připravenost opatř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éče tak IP pro variantu omikron či jiné mutace. Personál již delší dobu za hranou svých možností, převádění nevybrané dovolené, volna, podíl profesní frustrace…takže komplexní únava systému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5114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i intenzivní péči umožňuje návrat některých COV oddělení do běžného režimu, operativa stále omezena cca 60%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aj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i na IP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soký tlak na následnou péči. Vše ponecháno v rámc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y opatření s ohledem na vizi omikron mutace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ersonál je za hranou svých možností a kapacit, převádí již druhým rokem strašlivá kvanta dovolené a osobního volna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1438078"/>
              </p:ext>
            </p:extLst>
          </p:nvPr>
        </p:nvGraphicFramePr>
        <p:xfrm>
          <a:off x="376606" y="805063"/>
          <a:ext cx="11519385" cy="5613314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3291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9698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největší zátěž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ecně stran personálu – spousta PN (mim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dchody ze ZZ- Někteří nechtějí zažít další vlnu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174717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oproti podzimu zklidnění situace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plánované operativy minimální, někde maximálně do 20%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ost personálu v trendu , očekává se zvýše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uvistos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s nákazou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icronem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OČR, nemocnost)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97650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soké %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kovidů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a lůžkách IP, ECMO kapacita dostatečná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icho před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ikronovou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ouří?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27620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Havlíčkův Brod, Třebíč, Nové Město n/M) obdobná situace.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jvětší zátěž zatím stále nemocnice Nové Město n/M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5211575"/>
              </p:ext>
            </p:extLst>
          </p:nvPr>
        </p:nvGraphicFramePr>
        <p:xfrm>
          <a:off x="434413" y="847512"/>
          <a:ext cx="11435203" cy="5066349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gnace C19 případů, stále poměrně vysoké počty na JIP. Očekávaný výpadek personálu v souvislosti s šířením varianty omikron způsobí velké problémy se zajištěním péče. Podpora HZS/AČR nadále zásadní.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chybí lůžka, personál dostatečn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C+ hospitalizovaných na standardu, JIP zatížené také méně, ale je vysoký poče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a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, kteří drž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k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plněné ve všech nemocnicích v ZLK, nelze spustit elektivní operativu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lné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adále identický problém – ARO/JIP zaplněny velkým množstvím „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“ pacientů, většina z nich nadále na UPV a/anebo ECMO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53488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/>
              <a:t>7</a:t>
            </a:r>
            <a:r>
              <a:rPr lang="cs-CZ" b="1" dirty="0" smtClean="0"/>
              <a:t>.1.2022 00:29</a:t>
            </a:r>
            <a:endParaRPr lang="cs-CZ" b="1" dirty="0"/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506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1439063"/>
              </p:ext>
            </p:extLst>
          </p:nvPr>
        </p:nvGraphicFramePr>
        <p:xfrm>
          <a:off x="246185" y="993532"/>
          <a:ext cx="9231923" cy="5375345"/>
        </p:xfrm>
        <a:graphic>
          <a:graphicData uri="http://schemas.openxmlformats.org/drawingml/2006/table">
            <a:tbl>
              <a:tblPr/>
              <a:tblGrid>
                <a:gridCol w="1959701">
                  <a:extLst>
                    <a:ext uri="{9D8B030D-6E8A-4147-A177-3AD203B41FA5}">
                      <a16:colId xmlns:a16="http://schemas.microsoft.com/office/drawing/2014/main" val="859565394"/>
                    </a:ext>
                  </a:extLst>
                </a:gridCol>
                <a:gridCol w="1199816">
                  <a:extLst>
                    <a:ext uri="{9D8B030D-6E8A-4147-A177-3AD203B41FA5}">
                      <a16:colId xmlns:a16="http://schemas.microsoft.com/office/drawing/2014/main" val="3627864010"/>
                    </a:ext>
                  </a:extLst>
                </a:gridCol>
                <a:gridCol w="1109830">
                  <a:extLst>
                    <a:ext uri="{9D8B030D-6E8A-4147-A177-3AD203B41FA5}">
                      <a16:colId xmlns:a16="http://schemas.microsoft.com/office/drawing/2014/main" val="3661627894"/>
                    </a:ext>
                  </a:extLst>
                </a:gridCol>
                <a:gridCol w="1106498">
                  <a:extLst>
                    <a:ext uri="{9D8B030D-6E8A-4147-A177-3AD203B41FA5}">
                      <a16:colId xmlns:a16="http://schemas.microsoft.com/office/drawing/2014/main" val="3117051378"/>
                    </a:ext>
                  </a:extLst>
                </a:gridCol>
                <a:gridCol w="1146492">
                  <a:extLst>
                    <a:ext uri="{9D8B030D-6E8A-4147-A177-3AD203B41FA5}">
                      <a16:colId xmlns:a16="http://schemas.microsoft.com/office/drawing/2014/main" val="3608128598"/>
                    </a:ext>
                  </a:extLst>
                </a:gridCol>
                <a:gridCol w="1149824">
                  <a:extLst>
                    <a:ext uri="{9D8B030D-6E8A-4147-A177-3AD203B41FA5}">
                      <a16:colId xmlns:a16="http://schemas.microsoft.com/office/drawing/2014/main" val="1463614682"/>
                    </a:ext>
                  </a:extLst>
                </a:gridCol>
                <a:gridCol w="1559762">
                  <a:extLst>
                    <a:ext uri="{9D8B030D-6E8A-4147-A177-3AD203B41FA5}">
                      <a16:colId xmlns:a16="http://schemas.microsoft.com/office/drawing/2014/main" val="49251521"/>
                    </a:ext>
                  </a:extLst>
                </a:gridCol>
              </a:tblGrid>
              <a:tr h="186202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7164723"/>
                  </a:ext>
                </a:extLst>
              </a:tr>
              <a:tr h="186202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2022, 11:00 h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3534836"/>
                  </a:ext>
                </a:extLst>
              </a:tr>
              <a:tr h="18181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9666731"/>
                  </a:ext>
                </a:extLst>
              </a:tr>
              <a:tr h="18181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7050121"/>
                  </a:ext>
                </a:extLst>
              </a:tr>
              <a:tr h="67166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9336116"/>
                  </a:ext>
                </a:extLst>
              </a:tr>
              <a:tr h="1818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6892918"/>
                  </a:ext>
                </a:extLst>
              </a:tr>
              <a:tr h="1818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3035699"/>
                  </a:ext>
                </a:extLst>
              </a:tr>
              <a:tr h="1818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7545439"/>
                  </a:ext>
                </a:extLst>
              </a:tr>
              <a:tr h="1818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6441286"/>
                  </a:ext>
                </a:extLst>
              </a:tr>
              <a:tr h="1818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2046874"/>
                  </a:ext>
                </a:extLst>
              </a:tr>
              <a:tr h="1818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7904318"/>
                  </a:ext>
                </a:extLst>
              </a:tr>
              <a:tr h="1818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9623170"/>
                  </a:ext>
                </a:extLst>
              </a:tr>
              <a:tr h="1818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3552756"/>
                  </a:ext>
                </a:extLst>
              </a:tr>
              <a:tr h="1818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4513959"/>
                  </a:ext>
                </a:extLst>
              </a:tr>
              <a:tr h="1818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7289709"/>
                  </a:ext>
                </a:extLst>
              </a:tr>
              <a:tr h="1818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2122872"/>
                  </a:ext>
                </a:extLst>
              </a:tr>
              <a:tr h="1818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2269707"/>
                  </a:ext>
                </a:extLst>
              </a:tr>
              <a:tr h="1818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7353967"/>
                  </a:ext>
                </a:extLst>
              </a:tr>
              <a:tr h="1818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9306382"/>
                  </a:ext>
                </a:extLst>
              </a:tr>
              <a:tr h="1818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7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6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8052086"/>
                  </a:ext>
                </a:extLst>
              </a:tr>
              <a:tr h="181813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2581495"/>
                  </a:ext>
                </a:extLst>
              </a:tr>
              <a:tr h="18181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3931135"/>
                  </a:ext>
                </a:extLst>
              </a:tr>
              <a:tr h="18181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5399638"/>
                  </a:ext>
                </a:extLst>
              </a:tr>
              <a:tr h="181813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x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20692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4985437"/>
              </p:ext>
            </p:extLst>
          </p:nvPr>
        </p:nvGraphicFramePr>
        <p:xfrm>
          <a:off x="332820" y="975943"/>
          <a:ext cx="9637658" cy="5340805"/>
        </p:xfrm>
        <a:graphic>
          <a:graphicData uri="http://schemas.openxmlformats.org/drawingml/2006/table">
            <a:tbl>
              <a:tblPr/>
              <a:tblGrid>
                <a:gridCol w="2045828">
                  <a:extLst>
                    <a:ext uri="{9D8B030D-6E8A-4147-A177-3AD203B41FA5}">
                      <a16:colId xmlns:a16="http://schemas.microsoft.com/office/drawing/2014/main" val="1616083762"/>
                    </a:ext>
                  </a:extLst>
                </a:gridCol>
                <a:gridCol w="1252548">
                  <a:extLst>
                    <a:ext uri="{9D8B030D-6E8A-4147-A177-3AD203B41FA5}">
                      <a16:colId xmlns:a16="http://schemas.microsoft.com/office/drawing/2014/main" val="2331540063"/>
                    </a:ext>
                  </a:extLst>
                </a:gridCol>
                <a:gridCol w="1158606">
                  <a:extLst>
                    <a:ext uri="{9D8B030D-6E8A-4147-A177-3AD203B41FA5}">
                      <a16:colId xmlns:a16="http://schemas.microsoft.com/office/drawing/2014/main" val="3325327930"/>
                    </a:ext>
                  </a:extLst>
                </a:gridCol>
                <a:gridCol w="1155127">
                  <a:extLst>
                    <a:ext uri="{9D8B030D-6E8A-4147-A177-3AD203B41FA5}">
                      <a16:colId xmlns:a16="http://schemas.microsoft.com/office/drawing/2014/main" val="910600861"/>
                    </a:ext>
                  </a:extLst>
                </a:gridCol>
                <a:gridCol w="1196877">
                  <a:extLst>
                    <a:ext uri="{9D8B030D-6E8A-4147-A177-3AD203B41FA5}">
                      <a16:colId xmlns:a16="http://schemas.microsoft.com/office/drawing/2014/main" val="2069423416"/>
                    </a:ext>
                  </a:extLst>
                </a:gridCol>
                <a:gridCol w="1200359">
                  <a:extLst>
                    <a:ext uri="{9D8B030D-6E8A-4147-A177-3AD203B41FA5}">
                      <a16:colId xmlns:a16="http://schemas.microsoft.com/office/drawing/2014/main" val="2698467322"/>
                    </a:ext>
                  </a:extLst>
                </a:gridCol>
                <a:gridCol w="1628313">
                  <a:extLst>
                    <a:ext uri="{9D8B030D-6E8A-4147-A177-3AD203B41FA5}">
                      <a16:colId xmlns:a16="http://schemas.microsoft.com/office/drawing/2014/main" val="3185956717"/>
                    </a:ext>
                  </a:extLst>
                </a:gridCol>
              </a:tblGrid>
              <a:tr h="185621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5737809"/>
                  </a:ext>
                </a:extLst>
              </a:tr>
              <a:tr h="185621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2022, 11:00 h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4932229"/>
                  </a:ext>
                </a:extLst>
              </a:tr>
              <a:tr h="185621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6244868"/>
                  </a:ext>
                </a:extLst>
              </a:tr>
              <a:tr h="18562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5198857"/>
                  </a:ext>
                </a:extLst>
              </a:tr>
              <a:tr h="63682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1559587"/>
                  </a:ext>
                </a:extLst>
              </a:tr>
              <a:tr h="1856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8806719"/>
                  </a:ext>
                </a:extLst>
              </a:tr>
              <a:tr h="1856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1241187"/>
                  </a:ext>
                </a:extLst>
              </a:tr>
              <a:tr h="1856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5014023"/>
                  </a:ext>
                </a:extLst>
              </a:tr>
              <a:tr h="1856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7218368"/>
                  </a:ext>
                </a:extLst>
              </a:tr>
              <a:tr h="1856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858690"/>
                  </a:ext>
                </a:extLst>
              </a:tr>
              <a:tr h="1856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4338605"/>
                  </a:ext>
                </a:extLst>
              </a:tr>
              <a:tr h="1856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3680687"/>
                  </a:ext>
                </a:extLst>
              </a:tr>
              <a:tr h="1856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9943385"/>
                  </a:ext>
                </a:extLst>
              </a:tr>
              <a:tr h="1856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3946503"/>
                  </a:ext>
                </a:extLst>
              </a:tr>
              <a:tr h="1856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4285594"/>
                  </a:ext>
                </a:extLst>
              </a:tr>
              <a:tr h="1856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8052858"/>
                  </a:ext>
                </a:extLst>
              </a:tr>
              <a:tr h="1856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8160730"/>
                  </a:ext>
                </a:extLst>
              </a:tr>
              <a:tr h="1856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4653343"/>
                  </a:ext>
                </a:extLst>
              </a:tr>
              <a:tr h="1856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1437203"/>
                  </a:ext>
                </a:extLst>
              </a:tr>
              <a:tr h="1856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8767845"/>
                  </a:ext>
                </a:extLst>
              </a:tr>
              <a:tr h="185621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403392"/>
                  </a:ext>
                </a:extLst>
              </a:tr>
              <a:tr h="185621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535539"/>
                  </a:ext>
                </a:extLst>
              </a:tr>
              <a:tr h="18562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3419025"/>
                  </a:ext>
                </a:extLst>
              </a:tr>
              <a:tr h="185621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x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1981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</a:t>
            </a:r>
            <a:r>
              <a:rPr lang="cs-CZ" b="1" dirty="0"/>
              <a:t>7</a:t>
            </a:r>
            <a:r>
              <a:rPr lang="cs-CZ" b="1" dirty="0" smtClean="0"/>
              <a:t>.1.2022 00:29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/>
              <a:t>2</a:t>
            </a:r>
            <a:r>
              <a:rPr lang="cs-CZ" sz="2000" b="1" dirty="0" smtClean="0"/>
              <a:t> 126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0412163"/>
              </p:ext>
            </p:extLst>
          </p:nvPr>
        </p:nvGraphicFramePr>
        <p:xfrm>
          <a:off x="332818" y="964014"/>
          <a:ext cx="8341305" cy="5335411"/>
        </p:xfrm>
        <a:graphic>
          <a:graphicData uri="http://schemas.openxmlformats.org/drawingml/2006/table">
            <a:tbl>
              <a:tblPr/>
              <a:tblGrid>
                <a:gridCol w="1695364">
                  <a:extLst>
                    <a:ext uri="{9D8B030D-6E8A-4147-A177-3AD203B41FA5}">
                      <a16:colId xmlns:a16="http://schemas.microsoft.com/office/drawing/2014/main" val="825232328"/>
                    </a:ext>
                  </a:extLst>
                </a:gridCol>
                <a:gridCol w="1037978">
                  <a:extLst>
                    <a:ext uri="{9D8B030D-6E8A-4147-A177-3AD203B41FA5}">
                      <a16:colId xmlns:a16="http://schemas.microsoft.com/office/drawing/2014/main" val="723737135"/>
                    </a:ext>
                  </a:extLst>
                </a:gridCol>
                <a:gridCol w="960129">
                  <a:extLst>
                    <a:ext uri="{9D8B030D-6E8A-4147-A177-3AD203B41FA5}">
                      <a16:colId xmlns:a16="http://schemas.microsoft.com/office/drawing/2014/main" val="446640136"/>
                    </a:ext>
                  </a:extLst>
                </a:gridCol>
                <a:gridCol w="957246">
                  <a:extLst>
                    <a:ext uri="{9D8B030D-6E8A-4147-A177-3AD203B41FA5}">
                      <a16:colId xmlns:a16="http://schemas.microsoft.com/office/drawing/2014/main" val="1404006518"/>
                    </a:ext>
                  </a:extLst>
                </a:gridCol>
                <a:gridCol w="991846">
                  <a:extLst>
                    <a:ext uri="{9D8B030D-6E8A-4147-A177-3AD203B41FA5}">
                      <a16:colId xmlns:a16="http://schemas.microsoft.com/office/drawing/2014/main" val="2137251455"/>
                    </a:ext>
                  </a:extLst>
                </a:gridCol>
                <a:gridCol w="1349371">
                  <a:extLst>
                    <a:ext uri="{9D8B030D-6E8A-4147-A177-3AD203B41FA5}">
                      <a16:colId xmlns:a16="http://schemas.microsoft.com/office/drawing/2014/main" val="3594387127"/>
                    </a:ext>
                  </a:extLst>
                </a:gridCol>
                <a:gridCol w="1349371">
                  <a:extLst>
                    <a:ext uri="{9D8B030D-6E8A-4147-A177-3AD203B41FA5}">
                      <a16:colId xmlns:a16="http://schemas.microsoft.com/office/drawing/2014/main" val="478780315"/>
                    </a:ext>
                  </a:extLst>
                </a:gridCol>
              </a:tblGrid>
              <a:tr h="213040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5672725"/>
                  </a:ext>
                </a:extLst>
              </a:tr>
              <a:tr h="213040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2022, 11:00 h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6309102"/>
                  </a:ext>
                </a:extLst>
              </a:tr>
              <a:tr h="1830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7600111"/>
                  </a:ext>
                </a:extLst>
              </a:tr>
              <a:tr h="21304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6951410"/>
                  </a:ext>
                </a:extLst>
              </a:tr>
              <a:tr h="57825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0801943"/>
                  </a:ext>
                </a:extLst>
              </a:tr>
              <a:tr h="1902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8628200"/>
                  </a:ext>
                </a:extLst>
              </a:tr>
              <a:tr h="1902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4970074"/>
                  </a:ext>
                </a:extLst>
              </a:tr>
              <a:tr h="1902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1647789"/>
                  </a:ext>
                </a:extLst>
              </a:tr>
              <a:tr h="1902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40295"/>
                  </a:ext>
                </a:extLst>
              </a:tr>
              <a:tr h="1902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251842"/>
                  </a:ext>
                </a:extLst>
              </a:tr>
              <a:tr h="1902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980998"/>
                  </a:ext>
                </a:extLst>
              </a:tr>
              <a:tr h="1902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8337770"/>
                  </a:ext>
                </a:extLst>
              </a:tr>
              <a:tr h="1902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2935937"/>
                  </a:ext>
                </a:extLst>
              </a:tr>
              <a:tr h="1902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4337998"/>
                  </a:ext>
                </a:extLst>
              </a:tr>
              <a:tr h="1902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577883"/>
                  </a:ext>
                </a:extLst>
              </a:tr>
              <a:tr h="1902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3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9804655"/>
                  </a:ext>
                </a:extLst>
              </a:tr>
              <a:tr h="1902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503050"/>
                  </a:ext>
                </a:extLst>
              </a:tr>
              <a:tr h="1902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8441645"/>
                  </a:ext>
                </a:extLst>
              </a:tr>
              <a:tr h="1978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7938028"/>
                  </a:ext>
                </a:extLst>
              </a:tr>
              <a:tr h="20543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86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3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283233"/>
                  </a:ext>
                </a:extLst>
              </a:tr>
              <a:tr h="190214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5743248"/>
                  </a:ext>
                </a:extLst>
              </a:tr>
              <a:tr h="18300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4595858"/>
                  </a:ext>
                </a:extLst>
              </a:tr>
              <a:tr h="18300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994037"/>
                  </a:ext>
                </a:extLst>
              </a:tr>
              <a:tr h="190214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x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75624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902337" y="4360605"/>
            <a:ext cx="2631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</a:t>
            </a:r>
            <a:r>
              <a:rPr lang="cs-CZ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1.2022 11:0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9175412"/>
              </p:ext>
            </p:extLst>
          </p:nvPr>
        </p:nvGraphicFramePr>
        <p:xfrm>
          <a:off x="1317554" y="1759120"/>
          <a:ext cx="6569146" cy="3099012"/>
        </p:xfrm>
        <a:graphic>
          <a:graphicData uri="http://schemas.openxmlformats.org/drawingml/2006/table">
            <a:tbl>
              <a:tblPr/>
              <a:tblGrid>
                <a:gridCol w="4099087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682030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788029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2948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oslední</a:t>
                      </a:r>
                      <a:r>
                        <a:rPr lang="cs-CZ" sz="13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tualizace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setínská nemocnice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.01.2022 7:3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Říčany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.01.2022 9:47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P Hospitals, s.r.o., Nemocnice Brandýs n/L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.01.2022 9:4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</a:t>
                      </a:r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Kolín, a.s., Nemocnice Kutná Hora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.01.2022 13:5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6894770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Havlíčkův Brod, příspěvková organizace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.01.2022 14:2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719681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Šumperk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4.01.2022 10:28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2888615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Z, a.s., Nemocnice Děčín, </a:t>
                      </a:r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.z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4.01.2022 13:3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670442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sarykův onkologický ústav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01.2022 9:2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47725"/>
                  </a:ext>
                </a:extLst>
              </a:tr>
            </a:tbl>
          </a:graphicData>
        </a:graphic>
      </p:graphicFrame>
      <p:sp>
        <p:nvSpPr>
          <p:cNvPr id="7" name="TextovéPole 6"/>
          <p:cNvSpPr txBox="1"/>
          <p:nvPr/>
        </p:nvSpPr>
        <p:spPr>
          <a:xfrm>
            <a:off x="8851458" y="2351550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/>
              <a:t>Žádáme všechny ZZ o aktualizaci volných lůžkových kapacit každý den i během víkendů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85340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19809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7962905"/>
              </p:ext>
            </p:extLst>
          </p:nvPr>
        </p:nvGraphicFramePr>
        <p:xfrm>
          <a:off x="905440" y="1861611"/>
          <a:ext cx="8652072" cy="32678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451806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7.1.2022 0:29 h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2 632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451806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 566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9,5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506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92 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3,5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358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(70,8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735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27,9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 126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39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9,1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 230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7,9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4160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 - aktualizace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0902455"/>
              </p:ext>
            </p:extLst>
          </p:nvPr>
        </p:nvGraphicFramePr>
        <p:xfrm>
          <a:off x="803513" y="1619682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7.1.202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r>
                        <a:rPr lang="cs-CZ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617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803513" y="3270765"/>
            <a:ext cx="1095370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 - aktualizac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ne 6.1. bylo 137 nově přijatých C+ pacientů a 189 propuštěných.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KIP – bez požadavků na mezikrajové překlady. 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KIP  - celkové zlepšení situace, nižší počty příjmů C+ pac, nadále vysoká zátěž IP -&gt; long COVID pacienti vyžadující UPV/ECMO</a:t>
            </a:r>
          </a:p>
          <a:p>
            <a:pPr lvl="3"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postupné navyšování elektivní péče v některých krajích</a:t>
            </a:r>
          </a:p>
          <a:p>
            <a:pPr lvl="3"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personální stránka – je očekáván výpadek personálu v souvislosti s vlnou </a:t>
            </a:r>
            <a:r>
              <a:rPr lang="cs-CZ" dirty="0" err="1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micron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5897634" y="1606585"/>
            <a:ext cx="52548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Volná kapacita JIP již třetí týden stoupá a zároveň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lesá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íl C+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ientů.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NDLP </a:t>
            </a:r>
            <a:r>
              <a:rPr lang="cs-CZ" dirty="0" smtClean="0"/>
              <a:t>– Změny hodnocení situace v krajích od KKIP 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32819" y="1107472"/>
            <a:ext cx="11487705" cy="5135066"/>
          </a:xfrm>
        </p:spPr>
        <p:txBody>
          <a:bodyPr>
            <a:normAutofit lnSpcReduction="10000"/>
          </a:bodyPr>
          <a:lstStyle/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PHA – pokles akutních příjmů C+ pac, kapacity zabírají long-</a:t>
            </a:r>
            <a:r>
              <a:rPr lang="cs-CZ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Covid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 pac, </a:t>
            </a:r>
            <a:r>
              <a:rPr lang="cs-CZ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 stále 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omezená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PAK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– </a:t>
            </a:r>
            <a:r>
              <a:rPr lang="cs-CZ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 mírně uvolněna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, lůžka pro COVID+ s dostatečnou kapacitou při spíše nižším počtu příjmů. Část navýšených kapacit uzavřena, na úkor „</a:t>
            </a:r>
            <a:r>
              <a:rPr lang="cs-CZ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elektivy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“, udržována částečně navýšená kapacita standardní i IP péče v očekávání další vlny </a:t>
            </a: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epidemie.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STČ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- zklidnění situace, </a:t>
            </a:r>
            <a:r>
              <a:rPr lang="cs-CZ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 omezena do 20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%.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ZLK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- pokles C+ hospitalizovaných na standardu, JIP zatížené také méně, vysoký počet </a:t>
            </a:r>
            <a:r>
              <a:rPr lang="cs-CZ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postCOVID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 a </a:t>
            </a:r>
            <a:r>
              <a:rPr lang="cs-CZ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nonCOVID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 pacientů na JIP, </a:t>
            </a:r>
            <a:r>
              <a:rPr lang="cs-CZ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nelze spustit elektivní 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operativu.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ULK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- Stagnace C19 případů, vysoké počty na JIP. Očekávaný výpadek personálu v souvislosti s šířením varianty omikron způsobí velké problémy se zajištěním péče, </a:t>
            </a:r>
            <a:r>
              <a:rPr lang="cs-CZ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 omezena do 20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%.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KHK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- Dočasně pozastavena činnosti některých </a:t>
            </a:r>
            <a:r>
              <a:rPr lang="cs-CZ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covid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+ jednotek, část COVID+ jednotek intenzivní péče pracuje nyní v hybridním režimu. Dočasně v závislosti na ZZ </a:t>
            </a:r>
            <a:r>
              <a:rPr lang="cs-CZ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parciálně nebo plně obnovena operativa (do 20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%).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MSK - ARO/JIP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velké </a:t>
            </a: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množství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„</a:t>
            </a:r>
            <a:r>
              <a:rPr lang="cs-CZ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postCOVID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“ pacientů, většina z nich nadále na UPV a/anebo ECMO, </a:t>
            </a:r>
            <a:r>
              <a:rPr lang="cs-CZ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pozastavena</a:t>
            </a:r>
            <a:endParaRPr lang="cs-CZ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JHČ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– </a:t>
            </a:r>
            <a:r>
              <a:rPr lang="cs-CZ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 omezená do 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20%.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VYS – celkové zlepšení situace, </a:t>
            </a:r>
            <a:r>
              <a:rPr lang="cs-CZ" sz="1600" b="1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omezena do 20%, </a:t>
            </a: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stále největší zátěž </a:t>
            </a:r>
            <a:r>
              <a:rPr lang="cs-CZ" sz="16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nem</a:t>
            </a: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. Nové Město na Moravě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JHM – zlepšení situace, </a:t>
            </a:r>
            <a:r>
              <a:rPr lang="cs-CZ" sz="1600" b="1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omezena o více než 50%, </a:t>
            </a: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Vysoké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% </a:t>
            </a:r>
            <a:r>
              <a:rPr lang="cs-CZ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postkovidů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 na lůžkách </a:t>
            </a: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IP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PLK – zlepšení situace, </a:t>
            </a:r>
            <a:r>
              <a:rPr lang="cs-CZ" sz="1600" b="1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nadále omezena o cca 60%,</a:t>
            </a: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Přetrvávají </a:t>
            </a:r>
            <a:r>
              <a:rPr lang="pt-BR" sz="1600" dirty="0">
                <a:latin typeface="Segoe UI" panose="020B0502040204020203" pitchFamily="34" charset="0"/>
                <a:cs typeface="Segoe UI" panose="020B0502040204020203" pitchFamily="34" charset="0"/>
              </a:rPr>
              <a:t>postCOVid pacienti na </a:t>
            </a:r>
            <a:r>
              <a:rPr lang="pt-BR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IP</a:t>
            </a: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cs-CZ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stand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 by opatření s ohledem na vizi omikron mutace</a:t>
            </a:r>
            <a:endParaRPr lang="cs-CZ" sz="1600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70417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5533277"/>
              </p:ext>
            </p:extLst>
          </p:nvPr>
        </p:nvGraphicFramePr>
        <p:xfrm>
          <a:off x="332646" y="735378"/>
          <a:ext cx="11405086" cy="5036646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1959490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6625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9773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chybí lůžka, personál dostatečný</a:t>
                      </a:r>
                      <a:endParaRPr lang="cs-CZ" sz="13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bilní situace, pokles akutně přijímaný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, kapacity obsazeny již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kovidovaným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emocnými stále vyžadujícími IP, kteří udržují vysokou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IP/ARO.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stále omezená, odlišně v různých ZZ dle konkrétní situace. I přes to občas problém s příjmem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, nízká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mpliance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ersonálu vůči neočkovaným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7923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tento týden mírně uvolněn, onkologická aj. neodkladná operativa zcela bez </a:t>
                      </a:r>
                      <a:r>
                        <a:rPr lang="cs-CZ" sz="1300" b="0" i="0" kern="120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. 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ůžka pro COVID+ zatím s dostatečnou kapacitou při spíše nižším počtu příjmů. Část navýšených kapacit uzavřena, na úkor „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“ ale udržována částečně navýšená kapacita standardní i IP péče v očekávání další vlny epidemie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časně pozastavena činnosti některý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jednotek, část COVID+ jednotek intenzivní péče pracuje nyní v hybridním režimu. Dočasně parciálně nebo plně obnovena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4348</TotalTime>
  <Words>2363</Words>
  <Application>Microsoft Office PowerPoint</Application>
  <PresentationFormat>Širokoúhlá obrazovka</PresentationFormat>
  <Paragraphs>569</Paragraphs>
  <Slides>12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2</vt:i4>
      </vt:variant>
    </vt:vector>
  </HeadingPairs>
  <TitlesOfParts>
    <vt:vector size="19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NDLP – Stav očkování u hospitalizovaných pacientů</vt:lpstr>
      <vt:lpstr>NDLP - Souhrn - aktualizace</vt:lpstr>
      <vt:lpstr>NDLP – Změny hodnocení situace v krajích od KKIP 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Daniel Karafiát</cp:lastModifiedBy>
  <cp:revision>1845</cp:revision>
  <cp:lastPrinted>2020-10-20T04:21:56Z</cp:lastPrinted>
  <dcterms:created xsi:type="dcterms:W3CDTF">2020-07-15T10:33:32Z</dcterms:created>
  <dcterms:modified xsi:type="dcterms:W3CDTF">2022-01-07T10:32:36Z</dcterms:modified>
</cp:coreProperties>
</file>